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"/>
  </p:notesMasterIdLst>
  <p:sldIdLst>
    <p:sldId id="402" r:id="rId2"/>
    <p:sldId id="397" r:id="rId3"/>
    <p:sldId id="403" r:id="rId4"/>
    <p:sldId id="399" r:id="rId5"/>
    <p:sldId id="392" r:id="rId6"/>
    <p:sldId id="400" r:id="rId7"/>
    <p:sldId id="401" r:id="rId8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1" autoAdjust="0"/>
    <p:restoredTop sz="92787" autoAdjust="0"/>
  </p:normalViewPr>
  <p:slideViewPr>
    <p:cSldViewPr snapToGrid="0">
      <p:cViewPr varScale="1">
        <p:scale>
          <a:sx n="99" d="100"/>
          <a:sy n="99" d="100"/>
        </p:scale>
        <p:origin x="4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ariazahratalaneshraghi/Dropbox/My%20Mac%20(Maria&#8217;s%20MacBook%20Pro)/Documents/Springboard/Unit%207/3Southern%20Water%20Corp%20Economics%20Case%20Study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hich Quarter has the least Revenue Reduction Opportunities?</a:t>
            </a:r>
          </a:p>
        </c:rich>
      </c:tx>
      <c:layout>
        <c:manualLayout>
          <c:xMode val="edge"/>
          <c:yMode val="edge"/>
          <c:x val="0.19411717720356245"/>
          <c:y val="8.49727685694427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hat-If Analysis'!$U$60:$U$63</c:f>
              <c:strCache>
                <c:ptCount val="4"/>
                <c:pt idx="0">
                  <c:v>Q1 Outage</c:v>
                </c:pt>
                <c:pt idx="1">
                  <c:v>Q2 Outage</c:v>
                </c:pt>
                <c:pt idx="2">
                  <c:v>Q3 Outage</c:v>
                </c:pt>
                <c:pt idx="3">
                  <c:v>Q4 Outage</c:v>
                </c:pt>
              </c:strCache>
            </c:strRef>
          </c:cat>
          <c:val>
            <c:numRef>
              <c:f>'What-If Analysis'!$V$60:$V$63</c:f>
              <c:numCache>
                <c:formatCode>"$"#,##0.00;[Red]\-"$"#,##0.00</c:formatCode>
                <c:ptCount val="4"/>
                <c:pt idx="0">
                  <c:v>141675660.03799999</c:v>
                </c:pt>
                <c:pt idx="1">
                  <c:v>153195448.35699999</c:v>
                </c:pt>
                <c:pt idx="2">
                  <c:v>154187083.64099997</c:v>
                </c:pt>
                <c:pt idx="3">
                  <c:v>157707855.47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7-C74E-B6E9-2CB90BB965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-27"/>
        <c:axId val="1614402448"/>
        <c:axId val="194642047"/>
      </c:barChart>
      <c:catAx>
        <c:axId val="1614402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642047"/>
        <c:crosses val="autoZero"/>
        <c:auto val="1"/>
        <c:lblAlgn val="ctr"/>
        <c:lblOffset val="100"/>
        <c:noMultiLvlLbl val="0"/>
      </c:catAx>
      <c:valAx>
        <c:axId val="194642047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440244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19</c:f>
              <c:strCache>
                <c:ptCount val="1"/>
                <c:pt idx="0">
                  <c:v>Avg. Quantity of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Economic Market Analysis'!$C$18:$N$18</c:f>
              <c:numCache>
                <c:formatCode>"$"#,##0</c:formatCode>
                <c:ptCount val="12"/>
                <c:pt idx="0">
                  <c:v>110.48381542382315</c:v>
                </c:pt>
                <c:pt idx="1">
                  <c:v>110.62720422979757</c:v>
                </c:pt>
                <c:pt idx="2">
                  <c:v>110.55818806730868</c:v>
                </c:pt>
                <c:pt idx="3">
                  <c:v>93.17518584656078</c:v>
                </c:pt>
                <c:pt idx="4">
                  <c:v>93.408910429176501</c:v>
                </c:pt>
                <c:pt idx="5">
                  <c:v>92.851211447811423</c:v>
                </c:pt>
                <c:pt idx="6">
                  <c:v>92.809567652329747</c:v>
                </c:pt>
                <c:pt idx="7">
                  <c:v>93.14548020527856</c:v>
                </c:pt>
                <c:pt idx="8">
                  <c:v>92.989220833333306</c:v>
                </c:pt>
                <c:pt idx="9">
                  <c:v>92.823577188940064</c:v>
                </c:pt>
                <c:pt idx="10">
                  <c:v>93.029854347041791</c:v>
                </c:pt>
                <c:pt idx="11">
                  <c:v>93.232935483870918</c:v>
                </c:pt>
              </c:numCache>
            </c:numRef>
          </c:xVal>
          <c:yVal>
            <c:numRef>
              <c:f>'Economic Market Analysis'!$C$19:$N$19</c:f>
              <c:numCache>
                <c:formatCode>_(* #,##0_);_(* \(#,##0\);_(* "-"??_);_(@_)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ECC-3748-8193-D0E5DD27F9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66418272"/>
        <c:axId val="866419920"/>
      </c:scatterChart>
      <c:valAx>
        <c:axId val="866418272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419920"/>
        <c:crosses val="autoZero"/>
        <c:crossBetween val="midCat"/>
      </c:valAx>
      <c:valAx>
        <c:axId val="86641992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4182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22</c:f>
              <c:strCache>
                <c:ptCount val="1"/>
                <c:pt idx="0">
                  <c:v>Avg. Quantity of Soft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Economic Market Analysis'!$C$21:$N$21</c:f>
              <c:numCache>
                <c:formatCode>"$"#,##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Economic Market Analysis'!$C$22:$N$22</c:f>
              <c:numCache>
                <c:formatCode>_(* #,##0_);_(* \(#,##0\);_(* "-"??_);_(@_)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DA6-2948-B12C-D5554EE2A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66339840"/>
        <c:axId val="866442528"/>
      </c:scatterChart>
      <c:valAx>
        <c:axId val="866339840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442528"/>
        <c:crosses val="autoZero"/>
        <c:crossBetween val="midCat"/>
      </c:valAx>
      <c:valAx>
        <c:axId val="86644252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3398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/>
              <a:t> </a:t>
            </a:r>
            <a:r>
              <a:rPr lang="en-US" sz="1100" dirty="0" err="1"/>
              <a:t>Hard+Soft</a:t>
            </a:r>
            <a:r>
              <a:rPr lang="en-US" sz="1100" dirty="0"/>
              <a:t>: Water Balancing Price ($/ML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Hard and soft'!$C$1</c:f>
              <c:strCache>
                <c:ptCount val="1"/>
                <c:pt idx="0">
                  <c:v> Water Balancing Price ($/ML) 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'Hard and soft'!$C$2:$C$1461</c:f>
              <c:numCache>
                <c:formatCode>_("$"* #,##0_);_("$"* \(#,##0\);_("$"* "-"??_);_(@_)</c:formatCode>
                <c:ptCount val="146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'Hard and soft'!$B$2:$B$1461</c:f>
              <c:numCache>
                <c:formatCode>0</c:formatCode>
                <c:ptCount val="146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32-134E-A72C-F10D0130CD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2312704"/>
        <c:axId val="362314352"/>
      </c:scatterChart>
      <c:valAx>
        <c:axId val="3623127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2314352"/>
        <c:crosses val="autoZero"/>
        <c:crossBetween val="midCat"/>
      </c:valAx>
      <c:valAx>
        <c:axId val="36231435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2312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Hard Water Balancing Price ($/ML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Hard '!$C$1</c:f>
              <c:strCache>
                <c:ptCount val="1"/>
                <c:pt idx="0">
                  <c:v>Water Balancing Price ($/ML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Hard '!$C$2:$C$1461</c:f>
              <c:numCache>
                <c:formatCode>"$"#,##0.00</c:formatCode>
                <c:ptCount val="730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'Hard '!$B$2:$B$1461</c:f>
              <c:numCache>
                <c:formatCode>0.00</c:formatCode>
                <c:ptCount val="730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32A-5944-9B7C-D21246EF05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2312704"/>
        <c:axId val="362314352"/>
      </c:scatterChart>
      <c:valAx>
        <c:axId val="3623127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2314352"/>
        <c:crosses val="autoZero"/>
        <c:crossBetween val="midCat"/>
      </c:valAx>
      <c:valAx>
        <c:axId val="362314352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2312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oft Water Balancing Price ($/ML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Soft '!$C$1</c:f>
              <c:strCache>
                <c:ptCount val="1"/>
                <c:pt idx="0">
                  <c:v>Water Balancing Price ($/ML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Soft '!$C$2:$C$731</c:f>
              <c:numCache>
                <c:formatCode>"$"#,##0.00</c:formatCode>
                <c:ptCount val="73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</c:numCache>
            </c:numRef>
          </c:xVal>
          <c:yVal>
            <c:numRef>
              <c:f>'Soft '!$B$2:$B$731</c:f>
              <c:numCache>
                <c:formatCode>0.00</c:formatCode>
                <c:ptCount val="73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CC6-2645-819A-1BB67C08D7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1625072"/>
        <c:axId val="361294896"/>
      </c:scatterChart>
      <c:valAx>
        <c:axId val="3616250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1294896"/>
        <c:crosses val="autoZero"/>
        <c:crossBetween val="midCat"/>
      </c:valAx>
      <c:valAx>
        <c:axId val="361294896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16250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hat-If Analysis'!$R$5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hat-If Analysis'!$S$51:$V$51</c:f>
              <c:strCache>
                <c:ptCount val="4"/>
                <c:pt idx="0">
                  <c:v>Q3, 2013</c:v>
                </c:pt>
                <c:pt idx="1">
                  <c:v>Q4, 2013</c:v>
                </c:pt>
                <c:pt idx="2">
                  <c:v>Q1, 2014</c:v>
                </c:pt>
                <c:pt idx="3">
                  <c:v>Q2, 2014</c:v>
                </c:pt>
              </c:strCache>
            </c:strRef>
          </c:cat>
          <c:val>
            <c:numRef>
              <c:f>'What-If Analysis'!$S$52:$V$52</c:f>
              <c:numCache>
                <c:formatCode>"$"#,##0.00;[Red]\-"$"#,##0.00</c:formatCode>
                <c:ptCount val="4"/>
                <c:pt idx="0">
                  <c:v>16871927.267453253</c:v>
                </c:pt>
                <c:pt idx="1">
                  <c:v>16116994.863427632</c:v>
                </c:pt>
                <c:pt idx="2">
                  <c:v>22044713.743623592</c:v>
                </c:pt>
                <c:pt idx="3">
                  <c:v>15911321.423648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3A-914C-9E98-25CF334E16F2}"/>
            </c:ext>
          </c:extLst>
        </c:ser>
        <c:ser>
          <c:idx val="1"/>
          <c:order val="1"/>
          <c:tx>
            <c:strRef>
              <c:f>'What-If Analysis'!$R$5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hat-If Analysis'!$S$51:$V$51</c:f>
              <c:strCache>
                <c:ptCount val="4"/>
                <c:pt idx="0">
                  <c:v>Q3, 2013</c:v>
                </c:pt>
                <c:pt idx="1">
                  <c:v>Q4, 2013</c:v>
                </c:pt>
                <c:pt idx="2">
                  <c:v>Q1, 2014</c:v>
                </c:pt>
                <c:pt idx="3">
                  <c:v>Q2, 2014</c:v>
                </c:pt>
              </c:strCache>
            </c:strRef>
          </c:cat>
          <c:val>
            <c:numRef>
              <c:f>'What-If Analysis'!$S$53:$V$53</c:f>
              <c:numCache>
                <c:formatCode>"$"#,##0.00;[Red]\-"$"#,##0.00</c:formatCode>
                <c:ptCount val="4"/>
                <c:pt idx="0">
                  <c:v>48068265.527999997</c:v>
                </c:pt>
                <c:pt idx="1">
                  <c:v>44547493.697999991</c:v>
                </c:pt>
                <c:pt idx="2">
                  <c:v>60579689.130999997</c:v>
                </c:pt>
                <c:pt idx="3">
                  <c:v>49059900.81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3A-914C-9E98-25CF334E16F2}"/>
            </c:ext>
          </c:extLst>
        </c:ser>
        <c:ser>
          <c:idx val="2"/>
          <c:order val="2"/>
          <c:tx>
            <c:strRef>
              <c:f>'What-If Analysis'!$R$5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What-If Analysis'!$S$51:$V$51</c:f>
              <c:strCache>
                <c:ptCount val="4"/>
                <c:pt idx="0">
                  <c:v>Q3, 2013</c:v>
                </c:pt>
                <c:pt idx="1">
                  <c:v>Q4, 2013</c:v>
                </c:pt>
                <c:pt idx="2">
                  <c:v>Q1, 2014</c:v>
                </c:pt>
                <c:pt idx="3">
                  <c:v>Q2, 2014</c:v>
                </c:pt>
              </c:strCache>
            </c:strRef>
          </c:cat>
          <c:val>
            <c:numRef>
              <c:f>'What-If Analysis'!$S$54:$V$54</c:f>
              <c:numCache>
                <c:formatCode>"$"#,##0.00;[Red]\-"$"#,##0.00</c:formatCode>
                <c:ptCount val="4"/>
                <c:pt idx="0">
                  <c:v>39002563.592999995</c:v>
                </c:pt>
                <c:pt idx="1">
                  <c:v>34824618.524000004</c:v>
                </c:pt>
                <c:pt idx="2">
                  <c:v>45419724.269999996</c:v>
                </c:pt>
                <c:pt idx="3">
                  <c:v>44418318.98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3A-914C-9E98-25CF334E16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51862576"/>
        <c:axId val="1351864224"/>
      </c:barChart>
      <c:catAx>
        <c:axId val="135186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1864224"/>
        <c:crosses val="autoZero"/>
        <c:auto val="1"/>
        <c:lblAlgn val="ctr"/>
        <c:lblOffset val="100"/>
        <c:noMultiLvlLbl val="0"/>
      </c:catAx>
      <c:valAx>
        <c:axId val="1351864224"/>
        <c:scaling>
          <c:orientation val="minMax"/>
        </c:scaling>
        <c:delete val="1"/>
        <c:axPos val="l"/>
        <c:numFmt formatCode="&quot;$&quot;#,##0.00;[Red]\-&quot;$&quot;#,##0.00" sourceLinked="1"/>
        <c:majorTickMark val="none"/>
        <c:minorTickMark val="none"/>
        <c:tickLblPos val="nextTo"/>
        <c:crossAx val="1351862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What-If Analysis'!$B$15:$D$15</c:f>
              <c:strCache>
                <c:ptCount val="3"/>
                <c:pt idx="0">
                  <c:v>Average Water Balancing Market Pric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What-If Analysis'!$E$13:$P$1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</c:numRef>
          </c:cat>
          <c:val>
            <c:numRef>
              <c:f>'What-If Analysis'!$E$15:$P$15</c:f>
              <c:numCache>
                <c:formatCode>_("$"* #,##0.00_);_("$"* \(#,##0.00\);_("$"* "-"??_);_(@_)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58-5146-A8A2-0EE39DBC23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7367296"/>
        <c:axId val="587368976"/>
      </c:barChart>
      <c:lineChart>
        <c:grouping val="standard"/>
        <c:varyColors val="0"/>
        <c:ser>
          <c:idx val="2"/>
          <c:order val="1"/>
          <c:tx>
            <c:strRef>
              <c:f>'What-If Analysis'!$B$16:$D$16</c:f>
              <c:strCache>
                <c:ptCount val="3"/>
                <c:pt idx="0">
                  <c:v>Market Water Demand (Mega-Litres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What-If Analysis'!$E$13:$P$1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</c:numRef>
          </c:cat>
          <c:val>
            <c:numRef>
              <c:f>'What-If Analysis'!$E$16:$P$16</c:f>
              <c:numCache>
                <c:formatCode>General</c:formatCode>
                <c:ptCount val="12"/>
                <c:pt idx="0">
                  <c:v>2283050.247252766</c:v>
                </c:pt>
                <c:pt idx="1">
                  <c:v>2201059.2458815062</c:v>
                </c:pt>
                <c:pt idx="2">
                  <c:v>2153343.1850899537</c:v>
                </c:pt>
                <c:pt idx="3">
                  <c:v>2098991.3812617795</c:v>
                </c:pt>
                <c:pt idx="4">
                  <c:v>2200929.3289926662</c:v>
                </c:pt>
                <c:pt idx="5">
                  <c:v>2312199.5397611414</c:v>
                </c:pt>
                <c:pt idx="6">
                  <c:v>2298190.1589653962</c:v>
                </c:pt>
                <c:pt idx="7">
                  <c:v>2406091.896211104</c:v>
                </c:pt>
                <c:pt idx="8">
                  <c:v>2127814.5432709767</c:v>
                </c:pt>
                <c:pt idx="9">
                  <c:v>2185799.7542263702</c:v>
                </c:pt>
                <c:pt idx="10">
                  <c:v>2145783.7188661052</c:v>
                </c:pt>
                <c:pt idx="11">
                  <c:v>2229749.6611442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58-5146-A8A2-0EE39DBC23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5985680"/>
        <c:axId val="645957472"/>
      </c:lineChart>
      <c:dateAx>
        <c:axId val="58736729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368976"/>
        <c:crosses val="autoZero"/>
        <c:auto val="1"/>
        <c:lblOffset val="100"/>
        <c:baseTimeUnit val="months"/>
      </c:dateAx>
      <c:valAx>
        <c:axId val="587368976"/>
        <c:scaling>
          <c:orientation val="minMax"/>
        </c:scaling>
        <c:delete val="0"/>
        <c:axPos val="l"/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367296"/>
        <c:crosses val="autoZero"/>
        <c:crossBetween val="between"/>
      </c:valAx>
      <c:valAx>
        <c:axId val="645957472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5985680"/>
        <c:crosses val="max"/>
        <c:crossBetween val="between"/>
      </c:valAx>
      <c:dateAx>
        <c:axId val="645985680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4595747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conomic Cost Analysis'!$B$226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7:$B$229</c:f>
              <c:numCache>
                <c:formatCode>"$"#,##0.00;[Red]\-"$"#,##0.00</c:formatCode>
                <c:ptCount val="3"/>
                <c:pt idx="0" formatCode="&quot;$&quot;#,##0.00;[Red]\-&quot;$&quot;#,##0.00\ &quot;$/ML&quot;">
                  <c:v>25.001374005209879</c:v>
                </c:pt>
                <c:pt idx="1">
                  <c:v>54.231506516209784</c:v>
                </c:pt>
                <c:pt idx="2">
                  <c:v>35.804189198254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74-8342-AEB6-96181678B0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4702128"/>
        <c:axId val="544703776"/>
      </c:barChart>
      <c:lineChart>
        <c:grouping val="standard"/>
        <c:varyColors val="0"/>
        <c:ser>
          <c:idx val="1"/>
          <c:order val="1"/>
          <c:tx>
            <c:strRef>
              <c:f>'Economic Cost Analysis'!$C$226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27:$C$229</c:f>
              <c:numCache>
                <c:formatCode>"$"#,##0.00;[Red]\-"$"#,##0.00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A74-8342-AEB6-96181678B0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4702128"/>
        <c:axId val="544703776"/>
      </c:lineChart>
      <c:catAx>
        <c:axId val="54470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4703776"/>
        <c:crosses val="autoZero"/>
        <c:auto val="1"/>
        <c:lblAlgn val="ctr"/>
        <c:lblOffset val="100"/>
        <c:noMultiLvlLbl val="0"/>
      </c:catAx>
      <c:valAx>
        <c:axId val="544703776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4702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38365685299614E-2"/>
          <c:y val="4.3593121710622802E-2"/>
          <c:w val="0.75404215469552038"/>
          <c:h val="0.8644718866491462"/>
        </c:manualLayout>
      </c:layout>
      <c:lineChart>
        <c:grouping val="standard"/>
        <c:varyColors val="0"/>
        <c:ser>
          <c:idx val="0"/>
          <c:order val="0"/>
          <c:tx>
            <c:strRef>
              <c:f>'Economic Cost Analysis'!$B$21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90-694C-A926-2D83D013E6F8}"/>
            </c:ext>
          </c:extLst>
        </c:ser>
        <c:ser>
          <c:idx val="1"/>
          <c:order val="1"/>
          <c:tx>
            <c:strRef>
              <c:f>'Economic Cost Analysis'!$B$32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>
                <c:manualLayout>
                  <c:x val="-1.3063982711234324E-16"/>
                  <c:y val="-5.15191438398268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90-694C-A926-2D83D013E6F8}"/>
                </c:ext>
              </c:extLst>
            </c:dLbl>
            <c:dLbl>
              <c:idx val="11"/>
              <c:layout>
                <c:manualLayout>
                  <c:x val="0"/>
                  <c:y val="4.7556132775224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90-694C-A926-2D83D013E6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90-694C-A926-2D83D013E6F8}"/>
            </c:ext>
          </c:extLst>
        </c:ser>
        <c:ser>
          <c:idx val="2"/>
          <c:order val="2"/>
          <c:tx>
            <c:strRef>
              <c:f>'Economic Cost Analysis'!$B$43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1.7814727673832816E-3"/>
                  <c:y val="-2.37780663876124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B90-694C-A926-2D83D013E6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90-694C-A926-2D83D013E6F8}"/>
            </c:ext>
          </c:extLst>
        </c:ser>
        <c:ser>
          <c:idx val="3"/>
          <c:order val="3"/>
          <c:tx>
            <c:v>Overall CtP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0"/>
                  <c:y val="5.15191438398269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B90-694C-A926-2D83D013E6F8}"/>
                </c:ext>
              </c:extLst>
            </c:dLbl>
            <c:dLbl>
              <c:idx val="8"/>
              <c:layout>
                <c:manualLayout>
                  <c:x val="-1.3063982711234324E-16"/>
                  <c:y val="4.3593121710622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B90-694C-A926-2D83D013E6F8}"/>
                </c:ext>
              </c:extLst>
            </c:dLbl>
            <c:dLbl>
              <c:idx val="11"/>
              <c:layout>
                <c:manualLayout>
                  <c:x val="1.7814727673832816E-3"/>
                  <c:y val="4.75561327752248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B90-694C-A926-2D83D013E6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Economic Cost Analysis'!$G$60:$R$60</c:f>
              <c:numCache>
                <c:formatCode>"$"#,##0.00;[Red]\-"$"#,##0.00\ "$/ML"</c:formatCode>
                <c:ptCount val="12"/>
                <c:pt idx="0">
                  <c:v>35.4895180180268</c:v>
                </c:pt>
                <c:pt idx="1">
                  <c:v>40.083392414844866</c:v>
                </c:pt>
                <c:pt idx="2">
                  <c:v>43.723249193160832</c:v>
                </c:pt>
                <c:pt idx="3">
                  <c:v>48.886636356341938</c:v>
                </c:pt>
                <c:pt idx="4">
                  <c:v>56.088102230227392</c:v>
                </c:pt>
                <c:pt idx="5">
                  <c:v>39.044842053719009</c:v>
                </c:pt>
                <c:pt idx="6">
                  <c:v>38.918514174055339</c:v>
                </c:pt>
                <c:pt idx="7">
                  <c:v>41.543319627670584</c:v>
                </c:pt>
                <c:pt idx="8">
                  <c:v>35.585926820374347</c:v>
                </c:pt>
                <c:pt idx="9">
                  <c:v>35.928208360416363</c:v>
                </c:pt>
                <c:pt idx="10">
                  <c:v>41.013913758286819</c:v>
                </c:pt>
                <c:pt idx="11">
                  <c:v>37.418278653587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6B90-694C-A926-2D83D013E6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4192767"/>
        <c:axId val="184193167"/>
      </c:lineChart>
      <c:dateAx>
        <c:axId val="184192767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193167"/>
        <c:crosses val="autoZero"/>
        <c:auto val="1"/>
        <c:lblOffset val="100"/>
        <c:baseTimeUnit val="months"/>
      </c:dateAx>
      <c:valAx>
        <c:axId val="184193167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192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/>
              <a:t>Kootha</a:t>
            </a:r>
            <a:r>
              <a:rPr lang="en-US" sz="1050" baseline="0"/>
              <a:t> Scatter Plot </a:t>
            </a:r>
          </a:p>
          <a:p>
            <a:pPr>
              <a:defRPr/>
            </a:pPr>
            <a:r>
              <a:rPr lang="en-US" sz="1050" baseline="0"/>
              <a:t>(Cost to Produce vs. Volume of Water Produced)</a:t>
            </a:r>
            <a:endParaRPr lang="en-US" sz="1050"/>
          </a:p>
        </c:rich>
      </c:tx>
      <c:layout>
        <c:manualLayout>
          <c:xMode val="edge"/>
          <c:yMode val="edge"/>
          <c:x val="0.11513888888888892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Economic Cost Analysis'!$G$21:$R$21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xVal>
          <c:y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424-3A4D-88BA-DD05BEA5BA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9748480"/>
        <c:axId val="1369750128"/>
      </c:scatterChart>
      <c:valAx>
        <c:axId val="13697484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50128"/>
        <c:crosses val="autoZero"/>
        <c:crossBetween val="midCat"/>
      </c:valAx>
      <c:valAx>
        <c:axId val="1369750128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48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/>
              <a:t>Surjek</a:t>
            </a:r>
            <a:r>
              <a:rPr lang="en-US" sz="1050" baseline="0"/>
              <a:t> Scatter Plot </a:t>
            </a:r>
          </a:p>
          <a:p>
            <a:pPr>
              <a:defRPr/>
            </a:pPr>
            <a:r>
              <a:rPr lang="en-US" sz="1050" baseline="0"/>
              <a:t>(Cost to Produce vs. Volume of Water Produced)</a:t>
            </a:r>
            <a:endParaRPr lang="en-US" sz="1050"/>
          </a:p>
        </c:rich>
      </c:tx>
      <c:layout>
        <c:manualLayout>
          <c:xMode val="edge"/>
          <c:yMode val="edge"/>
          <c:x val="0.11513888888888892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32:$R$32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xVal>
          <c:y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303-BD4C-BF08-10BC14B37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9748480"/>
        <c:axId val="1369750128"/>
      </c:scatterChart>
      <c:valAx>
        <c:axId val="13697484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50128"/>
        <c:crosses val="autoZero"/>
        <c:crossBetween val="midCat"/>
      </c:valAx>
      <c:valAx>
        <c:axId val="1369750128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48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/>
              <a:t>Jurtik</a:t>
            </a:r>
            <a:r>
              <a:rPr lang="en-US" sz="1050" baseline="0"/>
              <a:t> Scatter Plot </a:t>
            </a:r>
          </a:p>
          <a:p>
            <a:pPr>
              <a:defRPr/>
            </a:pPr>
            <a:r>
              <a:rPr lang="en-US" sz="1050" baseline="0"/>
              <a:t>(Cost to Produce vs. Volume of Water Produced)</a:t>
            </a:r>
            <a:endParaRPr lang="en-US" sz="1050"/>
          </a:p>
        </c:rich>
      </c:tx>
      <c:layout>
        <c:manualLayout>
          <c:xMode val="edge"/>
          <c:yMode val="edge"/>
          <c:x val="0.11513888888888892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Economic Cost Analysis'!$G$43:$R$43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xVal>
          <c:y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152-1A4F-BDB0-4149D0684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9748480"/>
        <c:axId val="1369750128"/>
      </c:scatterChart>
      <c:valAx>
        <c:axId val="13697484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50128"/>
        <c:crosses val="autoZero"/>
        <c:crossBetween val="midCat"/>
      </c:valAx>
      <c:valAx>
        <c:axId val="1369750128"/>
        <c:scaling>
          <c:orientation val="minMax"/>
        </c:scaling>
        <c:delete val="0"/>
        <c:axPos val="l"/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748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603611111111111"/>
          <c:y val="4.16666666666666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16</c:f>
              <c:strCache>
                <c:ptCount val="1"/>
                <c:pt idx="0">
                  <c:v>Avg. Quantity of Soft +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15:$N$15</c:f>
              <c:numCache>
                <c:formatCode>"$"#,##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Economic Market Analysis'!$C$16:$N$16</c:f>
              <c:numCache>
                <c:formatCode>_(* #,##0_);_(* \(#,##0\);_(* "-"??_);_(@_)</c:formatCode>
                <c:ptCount val="12"/>
                <c:pt idx="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7FA-F348-9E94-26B944109B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7673328"/>
        <c:axId val="367740912"/>
      </c:scatterChart>
      <c:valAx>
        <c:axId val="367673328"/>
        <c:scaling>
          <c:orientation val="minMax"/>
        </c:scaling>
        <c:delete val="0"/>
        <c:axPos val="b"/>
        <c:numFmt formatCode="&quot;$&quot;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740912"/>
        <c:crosses val="autoZero"/>
        <c:crossBetween val="midCat"/>
      </c:valAx>
      <c:valAx>
        <c:axId val="36774091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6733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8/4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second slide we want to show is our overall conclusion regarding how cost-effective the Desalination Units are (i.e. </a:t>
            </a:r>
            <a:r>
              <a:rPr lang="en-AU" sz="1200" b="1" dirty="0" err="1"/>
              <a:t>Kootha</a:t>
            </a:r>
            <a:r>
              <a:rPr lang="en-AU" sz="1200" b="1" dirty="0"/>
              <a:t>,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) when compared to the Overall Water Market Balancing Pric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You may want to show a Macro View followed by a Micro View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Overall Cost to Produce for </a:t>
            </a:r>
            <a:r>
              <a:rPr lang="en-AU" sz="1200" b="1" dirty="0" err="1"/>
              <a:t>Kootha</a:t>
            </a:r>
            <a:r>
              <a:rPr lang="en-AU" sz="1200" b="1" dirty="0"/>
              <a:t>, </a:t>
            </a:r>
            <a:r>
              <a:rPr lang="en-AU" sz="1200" b="1" dirty="0" err="1"/>
              <a:t>Surjek</a:t>
            </a:r>
            <a:r>
              <a:rPr lang="en-AU" sz="1200" b="1" dirty="0"/>
              <a:t> and </a:t>
            </a:r>
            <a:r>
              <a:rPr lang="en-AU" sz="1200" b="1" dirty="0" err="1"/>
              <a:t>Jutik</a:t>
            </a:r>
            <a:r>
              <a:rPr lang="en-AU" sz="1200" b="1" dirty="0"/>
              <a:t> compared against the Overall Desalination Cost to Produce ($/ML). This is the macro view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line-chart, trend the monthly Cost to Produce for: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Kootha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Sujre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Juti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Kootha</a:t>
            </a:r>
            <a:r>
              <a:rPr lang="en-AU" sz="1200" b="1" dirty="0"/>
              <a:t> + </a:t>
            </a:r>
            <a:r>
              <a:rPr lang="en-AU" sz="1200" b="1" dirty="0" err="1"/>
              <a:t>Surjek</a:t>
            </a:r>
            <a:r>
              <a:rPr lang="en-AU" sz="1200" b="1" dirty="0"/>
              <a:t> + </a:t>
            </a:r>
            <a:r>
              <a:rPr lang="en-AU" sz="1200" b="1" dirty="0" err="1"/>
              <a:t>Jutik</a:t>
            </a:r>
            <a:endParaRPr lang="en-AU" sz="1200" b="1" dirty="0"/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s you’ve created for the Economic Cost Analysis Tab, Q5 and Q8 may be helpful. We’ve included an example on the right for the Column 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3471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third slide we want to show is our overall conclusion regarding the economic relationship between price and quantities for each of the three plants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Create three chart(s), which show the Cost to Produce vs. the Quantity of Water Produced for each Desalination Plant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we are </a:t>
            </a:r>
            <a:r>
              <a:rPr lang="en-AU" sz="1200" b="1" i="1" dirty="0"/>
              <a:t>comparing </a:t>
            </a:r>
            <a:r>
              <a:rPr lang="en-AU" sz="1200" b="1" dirty="0"/>
              <a:t>each point using a scatter-plot graphic.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Cost Analysis, Q6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71291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fourth slide we want to show is our overall conclusion regarding the economic principles of elasticity for our individual water products at a macro-level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2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837491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AU" sz="1200" b="1" dirty="0"/>
              <a:t>The fifth and final slide we want to show is our overall conclusion regarding the economic principles of elasticity for our individual water products at a </a:t>
            </a:r>
            <a:r>
              <a:rPr lang="en-AU" sz="1200" b="1" u="sng" dirty="0"/>
              <a:t>micro level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3, may be helpful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65248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923330"/>
          </a:xfrm>
        </p:spPr>
        <p:txBody>
          <a:bodyPr/>
          <a:lstStyle/>
          <a:p>
            <a:r>
              <a:rPr lang="en-GB" sz="1200" dirty="0"/>
              <a:t>Quarter 1 which represents the highest demand $141,675,660</a:t>
            </a:r>
            <a:br>
              <a:rPr lang="en-GB" sz="1200" dirty="0"/>
            </a:br>
            <a:r>
              <a:rPr lang="en-GB" sz="1200" dirty="0"/>
              <a:t>Water Balancing Market </a:t>
            </a:r>
            <a:r>
              <a:rPr lang="en-GB" sz="1200" b="1" dirty="0"/>
              <a:t> Quarter 4 </a:t>
            </a:r>
            <a:r>
              <a:rPr lang="en-GB" sz="1200" dirty="0"/>
              <a:t>presents the best balance of revenue-loss Prices  that is, $157,707,855.</a:t>
            </a:r>
            <a:br>
              <a:rPr lang="en-GB" sz="1200" dirty="0"/>
            </a:br>
            <a:r>
              <a:rPr lang="en-GB" sz="1200" dirty="0"/>
              <a:t>Doing the repairing's there would mean an estimated -22% reduction in </a:t>
            </a:r>
            <a:r>
              <a:rPr lang="en-GB" sz="1200" dirty="0" err="1"/>
              <a:t>Surjek’s</a:t>
            </a:r>
            <a:r>
              <a:rPr lang="en-GB" sz="1200" dirty="0"/>
              <a:t> Revenues (-$44,547,493 M) due to the Maintenance Outage</a:t>
            </a:r>
            <a:br>
              <a:rPr lang="en-GB" sz="1200" dirty="0"/>
            </a:br>
            <a:endParaRPr lang="en-AU" sz="12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7247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8D41DE5-8C4C-43CA-9432-43E7654D7C5A}"/>
              </a:ext>
            </a:extLst>
          </p:cNvPr>
          <p:cNvSpPr/>
          <p:nvPr/>
        </p:nvSpPr>
        <p:spPr>
          <a:xfrm>
            <a:off x="1893195" y="966419"/>
            <a:ext cx="36655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Total Quarterly Revenue (Q1,Q2,Q3,Q4)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2CBB845-5ECC-A446-A8DB-B3F89769AF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8351876"/>
              </p:ext>
            </p:extLst>
          </p:nvPr>
        </p:nvGraphicFramePr>
        <p:xfrm>
          <a:off x="2601532" y="4056846"/>
          <a:ext cx="6359906" cy="2540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13E9AFA-65DC-5C41-9147-2F9C3335BD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6391362"/>
              </p:ext>
            </p:extLst>
          </p:nvPr>
        </p:nvGraphicFramePr>
        <p:xfrm>
          <a:off x="30427" y="1312173"/>
          <a:ext cx="6898407" cy="2841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94145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21A32C1-7BD7-824B-B7F7-B15B5036B2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3309051"/>
              </p:ext>
            </p:extLst>
          </p:nvPr>
        </p:nvGraphicFramePr>
        <p:xfrm>
          <a:off x="26194" y="1506833"/>
          <a:ext cx="8909050" cy="4159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22C897E-20E3-7347-86C9-D396E72C466B}"/>
              </a:ext>
            </a:extLst>
          </p:cNvPr>
          <p:cNvSpPr/>
          <p:nvPr/>
        </p:nvSpPr>
        <p:spPr>
          <a:xfrm>
            <a:off x="2458903" y="1074278"/>
            <a:ext cx="447992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b="1" dirty="0">
                <a:latin typeface="Helvetica Neue" panose="02000503000000020004" pitchFamily="2" charset="0"/>
              </a:rPr>
              <a:t>Average Water Balancing Market Price vs. Market Demand</a:t>
            </a:r>
            <a:endParaRPr lang="en-US" sz="1200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594F0AB-D43C-2749-9667-0D37C8E86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40700"/>
            <a:ext cx="8737599" cy="184666"/>
          </a:xfrm>
        </p:spPr>
        <p:txBody>
          <a:bodyPr/>
          <a:lstStyle/>
          <a:p>
            <a:r>
              <a:rPr lang="en-GB" sz="1200" b="1" dirty="0"/>
              <a:t>Market demand rises and at the same time, prices get higher</a:t>
            </a:r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02063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$25 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5.8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54.23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64CDA4C-B0F1-D348-B2F1-EA292F787F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0165404"/>
              </p:ext>
            </p:extLst>
          </p:nvPr>
        </p:nvGraphicFramePr>
        <p:xfrm>
          <a:off x="1931831" y="1390430"/>
          <a:ext cx="5097776" cy="499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84962EF-B745-7147-9EFD-6E360C20FC7F}"/>
              </a:ext>
            </a:extLst>
          </p:cNvPr>
          <p:cNvSpPr/>
          <p:nvPr/>
        </p:nvSpPr>
        <p:spPr>
          <a:xfrm>
            <a:off x="2971955" y="995741"/>
            <a:ext cx="36375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AU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st to Produce vs. WBMP Market Price</a:t>
            </a:r>
          </a:p>
        </p:txBody>
      </p:sp>
    </p:spTree>
    <p:extLst>
      <p:ext uri="{BB962C8B-B14F-4D97-AF65-F5344CB8AC3E}">
        <p14:creationId xmlns:p14="http://schemas.microsoft.com/office/powerpoint/2010/main" val="1779051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165402B-89FE-C441-9405-35A282BA831D}"/>
              </a:ext>
            </a:extLst>
          </p:cNvPr>
          <p:cNvSpPr/>
          <p:nvPr/>
        </p:nvSpPr>
        <p:spPr>
          <a:xfrm>
            <a:off x="1209653" y="975379"/>
            <a:ext cx="59638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 Cost to Produce vs </a:t>
            </a:r>
            <a:r>
              <a:rPr lang="en-US" dirty="0" err="1"/>
              <a:t>Kootha</a:t>
            </a:r>
            <a:r>
              <a:rPr lang="en-US" dirty="0"/>
              <a:t>, </a:t>
            </a:r>
            <a:r>
              <a:rPr lang="en-US" dirty="0" err="1"/>
              <a:t>Surjet</a:t>
            </a:r>
            <a:r>
              <a:rPr lang="en-US" dirty="0"/>
              <a:t> and </a:t>
            </a:r>
            <a:r>
              <a:rPr lang="en-US" dirty="0" err="1"/>
              <a:t>Jutik</a:t>
            </a:r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720C6F1-1150-3A41-A27E-21BAD62617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3022557"/>
              </p:ext>
            </p:extLst>
          </p:nvPr>
        </p:nvGraphicFramePr>
        <p:xfrm>
          <a:off x="0" y="1468213"/>
          <a:ext cx="8909050" cy="5055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6E6511F-65DA-0649-B046-A8B413BDC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86920"/>
            <a:ext cx="8737599" cy="184666"/>
          </a:xfrm>
        </p:spPr>
        <p:txBody>
          <a:bodyPr/>
          <a:lstStyle/>
          <a:p>
            <a:r>
              <a:rPr lang="en-GB" sz="1200" b="1" dirty="0" err="1"/>
              <a:t>Surjek</a:t>
            </a:r>
            <a:r>
              <a:rPr lang="en-GB" sz="1200" b="1" dirty="0"/>
              <a:t> hits a cost peak in November 2013 and then it lowers every month.</a:t>
            </a:r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386920"/>
            <a:ext cx="8737599" cy="553998"/>
          </a:xfrm>
        </p:spPr>
        <p:txBody>
          <a:bodyPr/>
          <a:lstStyle/>
          <a:p>
            <a:r>
              <a:rPr lang="en-GB" sz="1200" b="1" dirty="0" err="1"/>
              <a:t>Kootha</a:t>
            </a:r>
            <a:r>
              <a:rPr lang="en-GB" sz="1200" b="1" dirty="0"/>
              <a:t>: the more the volume of water produced, the less it costs.</a:t>
            </a:r>
            <a:br>
              <a:rPr lang="en-GB" sz="1200" b="1" dirty="0"/>
            </a:br>
            <a:r>
              <a:rPr lang="en-GB" sz="1200" b="1" dirty="0" err="1"/>
              <a:t>Surjek</a:t>
            </a:r>
            <a:r>
              <a:rPr lang="en-GB" sz="1200" b="1" dirty="0"/>
              <a:t>: The more water production, the cost lowers but stays in a baseline.</a:t>
            </a:r>
            <a:br>
              <a:rPr lang="en-GB" sz="1200" b="1" dirty="0"/>
            </a:br>
            <a:r>
              <a:rPr lang="en-GB" sz="1200" b="1" dirty="0" err="1"/>
              <a:t>Jurjik</a:t>
            </a:r>
            <a:r>
              <a:rPr lang="en-GB" sz="1200" b="1" dirty="0"/>
              <a:t>: The more the water production the cost remains the same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B176242-6DE0-0D4B-AB70-D0DB540D67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8215337"/>
              </p:ext>
            </p:extLst>
          </p:nvPr>
        </p:nvGraphicFramePr>
        <p:xfrm>
          <a:off x="0" y="940918"/>
          <a:ext cx="4480719" cy="2630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F5D45DC-7C63-4D43-B289-DB94A04EB9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3744452"/>
              </p:ext>
            </p:extLst>
          </p:nvPr>
        </p:nvGraphicFramePr>
        <p:xfrm>
          <a:off x="4651019" y="940918"/>
          <a:ext cx="4297539" cy="2729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F2164B8-D763-0E42-900F-B323B04132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6457803"/>
              </p:ext>
            </p:extLst>
          </p:nvPr>
        </p:nvGraphicFramePr>
        <p:xfrm>
          <a:off x="2829799" y="3806775"/>
          <a:ext cx="4480719" cy="2729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Hard water tends to be relatively price inelastic regardless of quantity purchased, whilst Soft water  is more representative of an elastic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9ED5203-A220-F047-9FF5-F59008CDD6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5030591"/>
              </p:ext>
            </p:extLst>
          </p:nvPr>
        </p:nvGraphicFramePr>
        <p:xfrm>
          <a:off x="74083" y="1050361"/>
          <a:ext cx="3894667" cy="2795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83CE0D3-D46D-0642-8027-ACB2CD32D3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940920"/>
              </p:ext>
            </p:extLst>
          </p:nvPr>
        </p:nvGraphicFramePr>
        <p:xfrm>
          <a:off x="4328962" y="1053840"/>
          <a:ext cx="4558393" cy="2791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75BB9EC-9632-C048-829F-5AF733ECA8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5770259"/>
              </p:ext>
            </p:extLst>
          </p:nvPr>
        </p:nvGraphicFramePr>
        <p:xfrm>
          <a:off x="2717441" y="3954862"/>
          <a:ext cx="4340171" cy="268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pPr algn="just"/>
            <a:r>
              <a:rPr lang="en-GB" sz="1400" b="1" dirty="0"/>
              <a:t>For the consumer, Soft Water is seen as more of a ‘less core’ product than that of Hard Water whose price remains largely inflexibl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ED9F651-A80B-5B48-8E7F-DB6A32BA02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9802901"/>
              </p:ext>
            </p:extLst>
          </p:nvPr>
        </p:nvGraphicFramePr>
        <p:xfrm>
          <a:off x="0" y="1269143"/>
          <a:ext cx="3747751" cy="4951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3FC0CC4-4252-1441-86A7-A2A8678BA8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0525786"/>
              </p:ext>
            </p:extLst>
          </p:nvPr>
        </p:nvGraphicFramePr>
        <p:xfrm>
          <a:off x="4121239" y="986030"/>
          <a:ext cx="4668748" cy="2195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9A5FBEB-8C41-B148-BBEE-B0DA0275F1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0212070"/>
              </p:ext>
            </p:extLst>
          </p:nvPr>
        </p:nvGraphicFramePr>
        <p:xfrm>
          <a:off x="3747751" y="3335638"/>
          <a:ext cx="5042235" cy="3039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32</TotalTime>
  <Words>849</Words>
  <Application>Microsoft Macintosh PowerPoint</Application>
  <PresentationFormat>Custom</PresentationFormat>
  <Paragraphs>65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Helvetica Neue</vt:lpstr>
      <vt:lpstr>Wingdings</vt:lpstr>
      <vt:lpstr>1_Synergy_CF_YNR013</vt:lpstr>
      <vt:lpstr>think-cell Slide</vt:lpstr>
      <vt:lpstr>Quarter 1 which represents the highest demand $141,675,660 Water Balancing Market  Quarter 4 presents the best balance of revenue-loss Prices  that is, $157,707,855. Doing the repairing's there would mean an estimated -22% reduction in Surjek’s Revenues (-$44,547,493 M) due to the Maintenance Outage </vt:lpstr>
      <vt:lpstr>Market demand rises and at the same time, prices get higher</vt:lpstr>
      <vt:lpstr>Of the three Desalination Plants, all three remain profitable at current market prices by a favourable margin; Clearly Kootha is the most cost-effective $25 /ML) followed by Jutik ($35.8/ML) and lastly Surjek ($54.23/ML) which is consistent across the July-2013 to June-2014 period. </vt:lpstr>
      <vt:lpstr>Surjek hits a cost peak in November 2013 and then it lowers every month.</vt:lpstr>
      <vt:lpstr>Kootha: the more the volume of water produced, the less it costs. Surjek: The more water production, the cost lowers but stays in a baseline. Jurjik: The more the water production the cost remains the same</vt:lpstr>
      <vt:lpstr>Drilling down further from a product-perspective, reveals two different patterns of elasticity where Hard water tends to be relatively price inelastic regardless of quantity purchased, whilst Soft water  is more representative of an elastic price-to-volume relationship.</vt:lpstr>
      <vt:lpstr>For the consumer, Soft Water is seen as more of a ‘less core’ product than that of Hard Water whose price remains largely inflexible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María Talán</cp:lastModifiedBy>
  <cp:revision>84</cp:revision>
  <dcterms:created xsi:type="dcterms:W3CDTF">2020-04-12T13:23:13Z</dcterms:created>
  <dcterms:modified xsi:type="dcterms:W3CDTF">2021-04-09T00:14:52Z</dcterms:modified>
</cp:coreProperties>
</file>